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56" r:id="rId5"/>
    <p:sldId id="285" r:id="rId6"/>
    <p:sldId id="287" r:id="rId7"/>
    <p:sldId id="292" r:id="rId8"/>
    <p:sldId id="291" r:id="rId9"/>
    <p:sldId id="290" r:id="rId10"/>
    <p:sldId id="289" r:id="rId11"/>
    <p:sldId id="288" r:id="rId12"/>
    <p:sldId id="286" r:id="rId13"/>
    <p:sldId id="295" r:id="rId14"/>
    <p:sldId id="294" r:id="rId15"/>
    <p:sldId id="297" r:id="rId16"/>
    <p:sldId id="296" r:id="rId17"/>
    <p:sldId id="299" r:id="rId18"/>
    <p:sldId id="301" r:id="rId19"/>
    <p:sldId id="298" r:id="rId20"/>
    <p:sldId id="300" r:id="rId21"/>
    <p:sldId id="293" r:id="rId22"/>
    <p:sldId id="305" r:id="rId23"/>
    <p:sldId id="304" r:id="rId24"/>
    <p:sldId id="303" r:id="rId25"/>
    <p:sldId id="306" r:id="rId26"/>
    <p:sldId id="307" r:id="rId27"/>
    <p:sldId id="302" r:id="rId28"/>
    <p:sldId id="284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91765D8-8203-4D56-B2D2-2112DAC137AB}" v="776" dt="2023-09-11T04:05:55.5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5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10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31334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218538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142514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4470753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BA9AD6EA-2DF8-5939-A506-F16ED13A9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42063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9A30-0576-2545-8734-9B03AF70B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5BC24487-9FB9-A0A9-4AE2-22B5874BD39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397413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1F45F7-077C-499A-8055-91596D906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52F332D-3CDC-4D8E-AD43-52559783D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1AA2DA-8D81-486B-A333-D1BC8D8F71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0803EA-7A94-4882-A808-A9D283A70C8C}" type="datetimeFigureOut">
              <a:rPr lang="en-IN" smtClean="0"/>
              <a:t>30-07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D47D43-8D93-4BE1-8F2D-B5D8C344D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C2BC95-0468-4C4D-A96E-725682014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022E3-7B7B-4DC1-931E-C9E2C54B9D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440557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959190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98130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-2" y="0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785191" y="6520168"/>
            <a:ext cx="9730409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E01359E6-7FF4-DDDA-82C4-706E0CE1E15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020426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201882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55010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83158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24813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52903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12051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901448B-4337-4854-ACDF-BAADACCDC8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615" y="3716073"/>
            <a:ext cx="10525125" cy="701731"/>
          </a:xfrm>
        </p:spPr>
        <p:txBody>
          <a:bodyPr/>
          <a:lstStyle/>
          <a:p>
            <a:r>
              <a:rPr lang="en-IN" dirty="0">
                <a:solidFill>
                  <a:srgbClr val="92D050"/>
                </a:solidFill>
              </a:rPr>
              <a:t>Working with ServiceNow</a:t>
            </a:r>
          </a:p>
        </p:txBody>
      </p:sp>
    </p:spTree>
    <p:extLst>
      <p:ext uri="{BB962C8B-B14F-4D97-AF65-F5344CB8AC3E}">
        <p14:creationId xmlns:p14="http://schemas.microsoft.com/office/powerpoint/2010/main" val="31334907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1C7AD6E-97C0-7E3E-128A-15FD0A1F08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318054"/>
            <a:ext cx="11260279" cy="5774836"/>
          </a:xfrm>
        </p:spPr>
        <p:txBody>
          <a:bodyPr/>
          <a:lstStyle/>
          <a:p>
            <a:r>
              <a:rPr lang="en-US" sz="2400" b="1" dirty="0">
                <a:solidFill>
                  <a:srgbClr val="0070C0"/>
                </a:solidFill>
              </a:rPr>
              <a:t>Best Practices</a:t>
            </a:r>
          </a:p>
          <a:p>
            <a:endParaRPr lang="en-US" sz="2400" b="1" dirty="0">
              <a:solidFill>
                <a:srgbClr val="0070C0"/>
              </a:solidFill>
            </a:endParaRPr>
          </a:p>
          <a:p>
            <a:r>
              <a:rPr lang="en-US" b="1" dirty="0"/>
              <a:t>Implementing ServiceNow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lan and design based on business requiremen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tart with core functionalities and scale incrementally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User Training &amp; Adoption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rovide training for end-users and administrator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ncourage feedback and continuous improvement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Maintenance &amp; Upgrade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Regularly update and maintain the platform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est changes in a development environment before applying them to production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AD54AF-354C-4001-AF8D-F389DB3BAE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99516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63DC4D6-865E-4609-64C3-35B53C0019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856" y="383369"/>
            <a:ext cx="11260279" cy="5606884"/>
          </a:xfrm>
        </p:spPr>
        <p:txBody>
          <a:bodyPr/>
          <a:lstStyle/>
          <a:p>
            <a:endParaRPr lang="en-US" sz="2400" b="1" dirty="0">
              <a:solidFill>
                <a:srgbClr val="0070C0"/>
              </a:solidFill>
            </a:endParaRPr>
          </a:p>
          <a:p>
            <a:endParaRPr lang="en-US" sz="2400" b="1" dirty="0">
              <a:solidFill>
                <a:srgbClr val="0070C0"/>
              </a:solidFill>
            </a:endParaRPr>
          </a:p>
          <a:p>
            <a:r>
              <a:rPr lang="en-US" sz="2400" b="1" dirty="0">
                <a:solidFill>
                  <a:srgbClr val="0070C0"/>
                </a:solidFill>
              </a:rPr>
              <a:t>Common Challenges</a:t>
            </a:r>
          </a:p>
          <a:p>
            <a:endParaRPr lang="en-US" b="1" dirty="0"/>
          </a:p>
          <a:p>
            <a:r>
              <a:rPr lang="en-US" b="1" dirty="0"/>
              <a:t>Integration Issue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dress challenges with connecting ServiceNow to other system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Customization Complexity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anage the balance between customization and upgradeability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User Adoption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Overcome resistance to change and ensure effective use of the platform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2DE62D-0891-BA77-F9FA-45DEC052416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412728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610654-E43C-E717-ED8C-4CCBFAC29A6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8065" y="402030"/>
            <a:ext cx="11260279" cy="5522909"/>
          </a:xfrm>
        </p:spPr>
        <p:txBody>
          <a:bodyPr>
            <a:normAutofit lnSpcReduction="10000"/>
          </a:bodyPr>
          <a:lstStyle/>
          <a:p>
            <a:endParaRPr lang="en-US" b="1" dirty="0"/>
          </a:p>
          <a:p>
            <a:r>
              <a:rPr lang="en-US" sz="2400" b="1" dirty="0">
                <a:solidFill>
                  <a:srgbClr val="0070C0"/>
                </a:solidFill>
              </a:rPr>
              <a:t>Introduction to ServiceNow Navigation</a:t>
            </a:r>
          </a:p>
          <a:p>
            <a:endParaRPr lang="en-US" sz="2400" b="1" dirty="0">
              <a:solidFill>
                <a:srgbClr val="0070C0"/>
              </a:solidFill>
            </a:endParaRPr>
          </a:p>
          <a:p>
            <a:r>
              <a:rPr lang="en-US" b="1" dirty="0"/>
              <a:t>Content:</a:t>
            </a:r>
          </a:p>
          <a:p>
            <a:endParaRPr lang="en-US" dirty="0"/>
          </a:p>
          <a:p>
            <a:r>
              <a:rPr lang="en-US" b="1" dirty="0"/>
              <a:t>ServiceNow Interface: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Navigation Bar:</a:t>
            </a:r>
            <a:r>
              <a:rPr lang="en-US" dirty="0"/>
              <a:t> Located on the left, contains links to applications and modul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Application Navigator:</a:t>
            </a:r>
            <a:r>
              <a:rPr lang="en-US" dirty="0"/>
              <a:t> A search bar and a menu tree for quick access to modules and record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Main Content Area:</a:t>
            </a:r>
            <a:r>
              <a:rPr lang="en-US" dirty="0"/>
              <a:t> Displays detailed information and forms for selected modul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Notes: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 The Navigation Bar provides quick links to frequently used items and can be customized based on user preferenc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 The Application Navigator helps locate specific modules or records quickly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ED4393-F0FD-F9A7-DF6B-0A5207DE3D1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050019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86482DF-95C8-46AA-F03D-8C5A1E5414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430022"/>
            <a:ext cx="11260279" cy="5392280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0070C0"/>
                </a:solidFill>
              </a:rPr>
              <a:t>Navigating Through Modules</a:t>
            </a:r>
          </a:p>
          <a:p>
            <a:r>
              <a:rPr lang="en-US" b="1" dirty="0"/>
              <a:t>Content:</a:t>
            </a:r>
            <a:endParaRPr lang="en-US" dirty="0"/>
          </a:p>
          <a:p>
            <a:r>
              <a:rPr lang="en-US" b="1" dirty="0"/>
              <a:t>Application Navigator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Filter and Search:</a:t>
            </a:r>
            <a:r>
              <a:rPr lang="en-US" dirty="0"/>
              <a:t> Type keywords to quickly find modules or record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Favorites:</a:t>
            </a:r>
            <a:r>
              <a:rPr lang="en-US" dirty="0"/>
              <a:t> Mark frequently used modules or records for easy acces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Menu Tree:</a:t>
            </a:r>
            <a:r>
              <a:rPr lang="en-US" dirty="0"/>
              <a:t> Expand and collapse to explore available applications and module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Module Acces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lick on a module to display its related records in the Main Content Area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Use the context menu (three dots) for additional options like "Open," "Edit," and "Delete.“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Notes: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 Filtering and searching are powerful tools for navigating large datasets and application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 Customizing favorites helps streamline access to the most relevant features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0F2234-2172-A257-0D78-D0646742792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245478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36886CE-AA18-37D1-EB8D-488DB07C52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5860" y="245163"/>
            <a:ext cx="11260279" cy="5969025"/>
          </a:xfrm>
        </p:spPr>
        <p:txBody>
          <a:bodyPr>
            <a:normAutofit fontScale="92500" lnSpcReduction="20000"/>
          </a:bodyPr>
          <a:lstStyle/>
          <a:p>
            <a:r>
              <a:rPr lang="en-US" sz="2400" b="1" dirty="0">
                <a:solidFill>
                  <a:srgbClr val="0070C0"/>
                </a:solidFill>
              </a:rPr>
              <a:t>Using the Main Content Area</a:t>
            </a:r>
          </a:p>
          <a:p>
            <a:endParaRPr lang="en-US" sz="2400" b="1" dirty="0">
              <a:solidFill>
                <a:srgbClr val="0070C0"/>
              </a:solidFill>
            </a:endParaRPr>
          </a:p>
          <a:p>
            <a:r>
              <a:rPr lang="en-US" b="1" dirty="0"/>
              <a:t>Content:</a:t>
            </a:r>
            <a:endParaRPr lang="en-US" dirty="0"/>
          </a:p>
          <a:p>
            <a:endParaRPr lang="en-US" b="1" dirty="0"/>
          </a:p>
          <a:p>
            <a:r>
              <a:rPr lang="en-US" b="1" dirty="0"/>
              <a:t>Record List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List Layout:</a:t>
            </a:r>
            <a:r>
              <a:rPr lang="en-US" dirty="0"/>
              <a:t> View multiple records in a tabular forma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Column Headers:</a:t>
            </a:r>
            <a:r>
              <a:rPr lang="en-US" dirty="0"/>
              <a:t> Sort and filter records based on column data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Record Form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Form Layout:</a:t>
            </a:r>
            <a:r>
              <a:rPr lang="en-US" dirty="0"/>
              <a:t> Detailed view for creating or editing individual record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Tabs and Sections:</a:t>
            </a:r>
            <a:r>
              <a:rPr lang="en-US" dirty="0"/>
              <a:t> Organize data into logical segments for easier data entry and review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Action Button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Save, Update, and Submit:</a:t>
            </a:r>
            <a:r>
              <a:rPr lang="en-US" dirty="0"/>
              <a:t> Options for saving changes or submitting form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More Actions:</a:t>
            </a:r>
            <a:r>
              <a:rPr lang="en-US" dirty="0"/>
              <a:t> Additional actions like related records, approvals, and notification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Notes: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 The Record List view allows users to manage multiple records efficiently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 The Form view provides detailed data entry and editing capabilities, with actionable buttons for user interaction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A12533-B488-D187-ACFA-685EFE6382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156622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33D071B-EB3F-5813-A1B4-CCAC6AA849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4177" y="327385"/>
            <a:ext cx="11260279" cy="5821488"/>
          </a:xfrm>
        </p:spPr>
        <p:txBody>
          <a:bodyPr>
            <a:normAutofit/>
          </a:bodyPr>
          <a:lstStyle/>
          <a:p>
            <a:r>
              <a:rPr lang="en-IN" sz="2400" b="1" dirty="0">
                <a:solidFill>
                  <a:srgbClr val="0070C0"/>
                </a:solidFill>
              </a:rPr>
              <a:t>ServiceNow Applications and Modules</a:t>
            </a:r>
          </a:p>
          <a:p>
            <a:r>
              <a:rPr lang="en-US" b="1" dirty="0"/>
              <a:t>Content:</a:t>
            </a:r>
            <a:endParaRPr lang="en-US" dirty="0"/>
          </a:p>
          <a:p>
            <a:r>
              <a:rPr lang="en-US" b="1" dirty="0"/>
              <a:t>Application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Definition:</a:t>
            </a:r>
            <a:r>
              <a:rPr lang="en-US" dirty="0"/>
              <a:t> A collection of related modules that serve a specific business function (e.g., Incident Management, Change Management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Purpose:</a:t>
            </a:r>
            <a:r>
              <a:rPr lang="en-US" dirty="0"/>
              <a:t> Group functionalities together for easier access and management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Module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Definition:</a:t>
            </a:r>
            <a:r>
              <a:rPr lang="en-US" dirty="0"/>
              <a:t> Components within an application that provide specific functionalities (e.g., Incidents, Problems, Changes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Purpose:</a:t>
            </a:r>
            <a:r>
              <a:rPr lang="en-US" dirty="0"/>
              <a:t> Enable users to perform tasks and manage records related to the application’s function.</a:t>
            </a:r>
          </a:p>
          <a:p>
            <a:r>
              <a:rPr lang="en-US" b="1" dirty="0"/>
              <a:t>Notes: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 Applications are essentially containers for modules and help organize features based on business process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 Modules are specific tools or records within an application that allow users to perform tasks.</a:t>
            </a:r>
          </a:p>
          <a:p>
            <a:endParaRPr lang="en-IN" sz="2400" b="1" dirty="0">
              <a:solidFill>
                <a:srgbClr val="0070C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45ADDF-ECFE-8743-EBB8-A9985E1C0C0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752437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1890E2-E389-2876-2E73-A1BE61A7CF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346046"/>
            <a:ext cx="11260279" cy="5812158"/>
          </a:xfrm>
        </p:spPr>
        <p:txBody>
          <a:bodyPr>
            <a:normAutofit/>
          </a:bodyPr>
          <a:lstStyle/>
          <a:p>
            <a:r>
              <a:rPr lang="en-IN" sz="2400" b="1" dirty="0">
                <a:solidFill>
                  <a:srgbClr val="0070C0"/>
                </a:solidFill>
              </a:rPr>
              <a:t>Understanding Forms in ServiceNow</a:t>
            </a:r>
          </a:p>
          <a:p>
            <a:r>
              <a:rPr lang="en-US" b="1" dirty="0"/>
              <a:t>Content:</a:t>
            </a:r>
            <a:endParaRPr lang="en-US" dirty="0"/>
          </a:p>
          <a:p>
            <a:r>
              <a:rPr lang="en-US" b="1" dirty="0"/>
              <a:t>Form Layout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Header:</a:t>
            </a:r>
            <a:r>
              <a:rPr lang="en-US" dirty="0"/>
              <a:t> Displays the record title and key informatio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Tabs and Sections:</a:t>
            </a:r>
            <a:r>
              <a:rPr lang="en-US" dirty="0"/>
              <a:t> Organize fields into logical groups for better usabilit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Fields:</a:t>
            </a:r>
            <a:r>
              <a:rPr lang="en-US" dirty="0"/>
              <a:t> Individual pieces of data input or display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Form Action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Save, Update, Submit:</a:t>
            </a:r>
            <a:r>
              <a:rPr lang="en-US" dirty="0"/>
              <a:t> Buttons to save changes or submit form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Additional Actions:</a:t>
            </a:r>
            <a:r>
              <a:rPr lang="en-US" dirty="0"/>
              <a:t> Options for related records, attachments, and notification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Notes: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 Forms are used for creating, editing, and viewing detailed record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 Proper form layout improves data entry efficiency and user experience.</a:t>
            </a:r>
          </a:p>
          <a:p>
            <a:endParaRPr lang="en-IN" sz="2400" b="1" dirty="0">
              <a:solidFill>
                <a:srgbClr val="0070C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D01C03-0B5E-4C3A-1221-E72107AF86A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838026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D96216F-1567-DB0F-C538-74D049B8A0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226502"/>
            <a:ext cx="11260279" cy="5903710"/>
          </a:xfrm>
        </p:spPr>
        <p:txBody>
          <a:bodyPr>
            <a:normAutofit/>
          </a:bodyPr>
          <a:lstStyle/>
          <a:p>
            <a:r>
              <a:rPr lang="en-IN" sz="2400" b="1" dirty="0">
                <a:solidFill>
                  <a:srgbClr val="0070C0"/>
                </a:solidFill>
              </a:rPr>
              <a:t>Navigating Lists in ServiceNow</a:t>
            </a:r>
          </a:p>
          <a:p>
            <a:r>
              <a:rPr lang="en-US" b="1" dirty="0"/>
              <a:t>content:</a:t>
            </a:r>
            <a:endParaRPr lang="en-US" dirty="0"/>
          </a:p>
          <a:p>
            <a:r>
              <a:rPr lang="en-US" b="1" dirty="0"/>
              <a:t>List Layout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Columns:</a:t>
            </a:r>
            <a:r>
              <a:rPr lang="en-US" dirty="0"/>
              <a:t> Display different fields of the records (e.g., Incident Number, Status, Assigned To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Filters:</a:t>
            </a:r>
            <a:r>
              <a:rPr lang="en-US" dirty="0"/>
              <a:t> Apply conditions to narrow down the list of records (e.g., show only "Open" incidents)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List Action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Sorting:</a:t>
            </a:r>
            <a:r>
              <a:rPr lang="en-US" dirty="0"/>
              <a:t> Click on column headers to sort record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Pagination:</a:t>
            </a:r>
            <a:r>
              <a:rPr lang="en-US" dirty="0"/>
              <a:t> Navigate through multiple pages of record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Bulk Actions:</a:t>
            </a:r>
            <a:r>
              <a:rPr lang="en-US" dirty="0"/>
              <a:t> Perform actions on multiple records simultaneously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Notes: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 Lists are crucial for managing and viewing multiple records at onc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 Filters and sorting help users quickly find relevant data.</a:t>
            </a:r>
          </a:p>
          <a:p>
            <a:endParaRPr lang="en-IN" sz="2400" b="1" dirty="0">
              <a:solidFill>
                <a:srgbClr val="0070C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EFE5CD-9113-DFD6-F81B-70C9002CC2F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406976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8008E6E-D619-B219-9F58-5505BE216C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8065" y="235832"/>
            <a:ext cx="11260279" cy="5987686"/>
          </a:xfrm>
        </p:spPr>
        <p:txBody>
          <a:bodyPr>
            <a:normAutofit/>
          </a:bodyPr>
          <a:lstStyle/>
          <a:p>
            <a:r>
              <a:rPr lang="en-IN" sz="2400" b="1" dirty="0">
                <a:solidFill>
                  <a:srgbClr val="0070C0"/>
                </a:solidFill>
              </a:rPr>
              <a:t>Understanding Tables in ServiceNow</a:t>
            </a:r>
          </a:p>
          <a:p>
            <a:r>
              <a:rPr lang="en-US" b="1" dirty="0"/>
              <a:t>Content:</a:t>
            </a:r>
            <a:endParaRPr lang="en-US" dirty="0"/>
          </a:p>
          <a:p>
            <a:r>
              <a:rPr lang="en-US" b="1" dirty="0"/>
              <a:t>Table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Definition:</a:t>
            </a:r>
            <a:r>
              <a:rPr lang="en-US" dirty="0"/>
              <a:t> Databases that store records for applications and modul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Structure:</a:t>
            </a:r>
            <a:r>
              <a:rPr lang="en-US" dirty="0"/>
              <a:t> Includes fields (columns) and records (rows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Table Relationship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Parent-Child Relationships:</a:t>
            </a:r>
            <a:r>
              <a:rPr lang="en-US" dirty="0"/>
              <a:t> Tables can have relationships with other tables (e.g., Incident table and Change table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Reference Fields:</a:t>
            </a:r>
            <a:r>
              <a:rPr lang="en-US" dirty="0"/>
              <a:t> Allow tables to reference records in other table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Notes: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 Tables are fundamental to how data is organized and accessed in ServiceNow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 Understanding table relationships helps in creating complex workflows and integrations.</a:t>
            </a:r>
          </a:p>
          <a:p>
            <a:endParaRPr lang="en-IN" sz="2400" b="1" dirty="0">
              <a:solidFill>
                <a:srgbClr val="0070C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16C5A0-B1BA-5D94-8B7F-9F6A46BCB7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830824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A5A563B-7875-4AE9-C34B-60BE18E907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346046"/>
            <a:ext cx="11260279" cy="5737513"/>
          </a:xfrm>
        </p:spPr>
        <p:txBody>
          <a:bodyPr>
            <a:normAutofit lnSpcReduction="10000"/>
          </a:bodyPr>
          <a:lstStyle/>
          <a:p>
            <a:r>
              <a:rPr lang="en-IN" sz="2400" b="1" dirty="0">
                <a:solidFill>
                  <a:srgbClr val="0070C0"/>
                </a:solidFill>
              </a:rPr>
              <a:t>Service Level Management</a:t>
            </a:r>
          </a:p>
          <a:p>
            <a:r>
              <a:rPr lang="en-US" b="1" dirty="0"/>
              <a:t>Content:</a:t>
            </a:r>
          </a:p>
          <a:p>
            <a:endParaRPr lang="en-US" dirty="0"/>
          </a:p>
          <a:p>
            <a:r>
              <a:rPr lang="en-US" b="1" dirty="0"/>
              <a:t>What is Service Level Management?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Definition:</a:t>
            </a:r>
            <a:r>
              <a:rPr lang="en-US" dirty="0"/>
              <a:t> A process in IT Service Management (ITSM) that ensures IT services are delivered at agreed-upon levels of qualit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Purpose:</a:t>
            </a:r>
            <a:r>
              <a:rPr lang="en-US" dirty="0"/>
              <a:t> To set, manage, and review service level agreements (SLAs) to meet customer expectations and improve service delivery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Key Components: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Service Level Agreements (SLAs):</a:t>
            </a:r>
            <a:r>
              <a:rPr lang="en-US" dirty="0"/>
              <a:t> Contracts between the service provider and customers detailing the expected service level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Operational Level Agreements (OLAs):</a:t>
            </a:r>
            <a:r>
              <a:rPr lang="en-US" dirty="0"/>
              <a:t> Internal agreements defining the responsibilities of different departments or team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Underpinning Contracts (UCs):</a:t>
            </a:r>
            <a:r>
              <a:rPr lang="en-US" dirty="0"/>
              <a:t> Agreements with external vendors supporting the delivery of services.</a:t>
            </a:r>
          </a:p>
          <a:p>
            <a:endParaRPr lang="en-IN" sz="2400" b="1" dirty="0">
              <a:solidFill>
                <a:srgbClr val="0070C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42682-F4C1-1296-F0C6-F404768485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667779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E70DF76-A0C3-B718-1431-3EB155C0C8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448683"/>
            <a:ext cx="11260279" cy="5746844"/>
          </a:xfrm>
        </p:spPr>
        <p:txBody>
          <a:bodyPr/>
          <a:lstStyle/>
          <a:p>
            <a:endParaRPr lang="en-US" sz="2400" b="1" dirty="0">
              <a:solidFill>
                <a:srgbClr val="0070C0"/>
              </a:solidFill>
            </a:endParaRPr>
          </a:p>
          <a:p>
            <a:r>
              <a:rPr lang="en-US" sz="2400" b="1" dirty="0">
                <a:solidFill>
                  <a:srgbClr val="0070C0"/>
                </a:solidFill>
              </a:rPr>
              <a:t>Introduction to ServiceNow</a:t>
            </a:r>
          </a:p>
          <a:p>
            <a:endParaRPr lang="en-US" b="1" dirty="0"/>
          </a:p>
          <a:p>
            <a:r>
              <a:rPr lang="en-US" b="1" dirty="0"/>
              <a:t>What is ServiceNow?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 cloud-based platform offering IT service management (ITSM) and other business process management solution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Known for automating workflows, improving efficiency, and providing a single system of record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History &amp; Evolution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ounded in 2004 by Fred </a:t>
            </a:r>
            <a:r>
              <a:rPr lang="en-US" dirty="0" err="1"/>
              <a:t>Luddy</a:t>
            </a:r>
            <a:r>
              <a:rPr lang="en-US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volved from a small ITSM tool to a comprehensive enterprise platform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20A5B8-1DE8-684F-60A4-98B0C28115B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206020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355B38B-E7FF-0F8A-6B73-06894DAB84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420692"/>
            <a:ext cx="11260279" cy="5784165"/>
          </a:xfrm>
        </p:spPr>
        <p:txBody>
          <a:bodyPr>
            <a:normAutofit fontScale="85000" lnSpcReduction="20000"/>
          </a:bodyPr>
          <a:lstStyle/>
          <a:p>
            <a:r>
              <a:rPr lang="en-IN" sz="2400" b="1" dirty="0">
                <a:solidFill>
                  <a:srgbClr val="0070C0"/>
                </a:solidFill>
              </a:rPr>
              <a:t>Managing SLAs in ServiceNow</a:t>
            </a:r>
          </a:p>
          <a:p>
            <a:r>
              <a:rPr lang="en-US" b="1" dirty="0"/>
              <a:t>Content:</a:t>
            </a:r>
            <a:endParaRPr lang="en-US" dirty="0"/>
          </a:p>
          <a:p>
            <a:r>
              <a:rPr lang="en-US" b="1" dirty="0"/>
              <a:t>Creating SLA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SLA Definition:</a:t>
            </a:r>
            <a:r>
              <a:rPr lang="en-US" dirty="0"/>
              <a:t> Define SLA conditions based on various factors such as priority, incident type, or request typ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SLA Conditions:</a:t>
            </a:r>
            <a:r>
              <a:rPr lang="en-US" dirty="0"/>
              <a:t> Set conditions for start and stop times, breaches, and escalation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SLA Policie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Business Rules:</a:t>
            </a:r>
            <a:r>
              <a:rPr lang="en-US" dirty="0"/>
              <a:t> Create business rules to define when an SLA should start and end, and handle SLA breach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Notifications:</a:t>
            </a:r>
            <a:r>
              <a:rPr lang="en-US" dirty="0"/>
              <a:t> Set up notifications to alert stakeholders when SLAs are nearing breach or have been breached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SLA Reporting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Performance Metrics:</a:t>
            </a:r>
            <a:r>
              <a:rPr lang="en-US" dirty="0"/>
              <a:t> Track SLA performance against targets using dashboards and repor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KPI Tracking:</a:t>
            </a:r>
            <a:r>
              <a:rPr lang="en-US" dirty="0"/>
              <a:t> Measure key performance indicators (KPIs) to evaluate the effectiveness of SLA management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Notes: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 Proper configuration and monitoring of SLAs ensure that service delivery meets or exceeds agreed-upon standards.</a:t>
            </a:r>
          </a:p>
          <a:p>
            <a:endParaRPr lang="en-IN" sz="2400" b="1" dirty="0">
              <a:solidFill>
                <a:srgbClr val="0070C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5BEB11-F4DF-1BB2-82BA-E88AE2B387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291302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69F6FAD-D971-01EE-BA4B-05FDE70700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4178" y="355377"/>
            <a:ext cx="11260279" cy="5681529"/>
          </a:xfrm>
        </p:spPr>
        <p:txBody>
          <a:bodyPr>
            <a:normAutofit lnSpcReduction="10000"/>
          </a:bodyPr>
          <a:lstStyle/>
          <a:p>
            <a:r>
              <a:rPr lang="en-IN" sz="2400" b="1" dirty="0">
                <a:solidFill>
                  <a:srgbClr val="0070C0"/>
                </a:solidFill>
              </a:rPr>
              <a:t>Introduction to Email Notification Templates</a:t>
            </a:r>
          </a:p>
          <a:p>
            <a:r>
              <a:rPr lang="en-US" b="1" dirty="0"/>
              <a:t>Content:</a:t>
            </a:r>
            <a:endParaRPr lang="en-US" dirty="0"/>
          </a:p>
          <a:p>
            <a:r>
              <a:rPr lang="en-US" b="1" dirty="0"/>
              <a:t>What are Email Notification Templates?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Definition:</a:t>
            </a:r>
            <a:r>
              <a:rPr lang="en-US" dirty="0"/>
              <a:t> Predefined formats used to standardize and automate email communications in ServiceNow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Purpose:</a:t>
            </a:r>
            <a:r>
              <a:rPr lang="en-US" dirty="0"/>
              <a:t> Ensure consistent, professional, and effective communication across various notifications such as incident updates, approvals, and alert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Key Feature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Dynamic Content:</a:t>
            </a:r>
            <a:r>
              <a:rPr lang="en-US" dirty="0"/>
              <a:t> Allows inclusion of variable data from ServiceNow records (e.g., incident number, requester name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Reusable Templates:</a:t>
            </a:r>
            <a:r>
              <a:rPr lang="en-US" dirty="0"/>
              <a:t> Create once and use in multiple notifications for consistency and efficiency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Notes: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Templates streamline communication processes and ensure messages are uniform across different types of notifications.</a:t>
            </a:r>
          </a:p>
          <a:p>
            <a:endParaRPr lang="en-IN" sz="2400" b="1" dirty="0">
              <a:solidFill>
                <a:srgbClr val="0070C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FBB8C7-C37C-DFA7-838F-5DDBCD955E2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172652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F73654-61F0-47C1-53EA-331B8066B8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513998"/>
            <a:ext cx="11260279" cy="5569561"/>
          </a:xfrm>
        </p:spPr>
        <p:txBody>
          <a:bodyPr>
            <a:normAutofit fontScale="92500" lnSpcReduction="20000"/>
          </a:bodyPr>
          <a:lstStyle/>
          <a:p>
            <a:r>
              <a:rPr lang="en-US" sz="2600" b="1" dirty="0">
                <a:solidFill>
                  <a:srgbClr val="0070C0"/>
                </a:solidFill>
              </a:rPr>
              <a:t>Introduction to Variables in ServiceNow</a:t>
            </a:r>
            <a:br>
              <a:rPr lang="en-US" sz="2400" b="1" dirty="0">
                <a:solidFill>
                  <a:srgbClr val="0070C0"/>
                </a:solidFill>
              </a:rPr>
            </a:br>
            <a:endParaRPr lang="en-US" sz="2400" b="1" dirty="0">
              <a:solidFill>
                <a:srgbClr val="0070C0"/>
              </a:solidFill>
            </a:endParaRPr>
          </a:p>
          <a:p>
            <a:r>
              <a:rPr lang="en-US" b="1" dirty="0"/>
              <a:t>Content:</a:t>
            </a:r>
            <a:endParaRPr lang="en-US" dirty="0"/>
          </a:p>
          <a:p>
            <a:endParaRPr lang="en-US" b="1" dirty="0"/>
          </a:p>
          <a:p>
            <a:r>
              <a:rPr lang="en-US" b="1" dirty="0"/>
              <a:t>What are Variables?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Definition:</a:t>
            </a:r>
            <a:r>
              <a:rPr lang="en-US" dirty="0"/>
              <a:t> Variables are fields used in forms and catalog items to capture user input or display dynamic data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Purpose:</a:t>
            </a:r>
            <a:r>
              <a:rPr lang="en-US" dirty="0"/>
              <a:t> Collect and manage user data efficiently in ServiceNow forms, service catalog items, and surveys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Types of Variable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Single-Line Text:</a:t>
            </a:r>
            <a:r>
              <a:rPr lang="en-US" dirty="0"/>
              <a:t> For short text inpu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Multiple-Line Text:</a:t>
            </a:r>
            <a:r>
              <a:rPr lang="en-US" dirty="0"/>
              <a:t> For longer text or commen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Choice:</a:t>
            </a:r>
            <a:r>
              <a:rPr lang="en-US" dirty="0"/>
              <a:t> Provides a dropdown list of option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Reference:</a:t>
            </a:r>
            <a:r>
              <a:rPr lang="en-US" dirty="0"/>
              <a:t> Links to records in other tabl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Checkbox, Radio Button, Date/Time, etc.:</a:t>
            </a:r>
            <a:r>
              <a:rPr lang="en-US" dirty="0"/>
              <a:t> Various other input types for different need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Notes: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    Variables are fundamental for collecting user input and customizing forms and catalog items.</a:t>
            </a:r>
          </a:p>
          <a:p>
            <a:endParaRPr lang="en-IN" sz="2400" b="1" dirty="0">
              <a:solidFill>
                <a:srgbClr val="0070C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35B89E-D173-CE22-66F9-FB9A998FDA8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862020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7FB060E-76BA-E04A-20EE-D29135EE49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8234" y="263824"/>
            <a:ext cx="11260279" cy="5838396"/>
          </a:xfrm>
        </p:spPr>
        <p:txBody>
          <a:bodyPr>
            <a:normAutofit fontScale="92500" lnSpcReduction="20000"/>
          </a:bodyPr>
          <a:lstStyle/>
          <a:p>
            <a:r>
              <a:rPr lang="en-US" sz="2600" b="1" dirty="0">
                <a:solidFill>
                  <a:srgbClr val="0070C0"/>
                </a:solidFill>
              </a:rPr>
              <a:t>Introduction to Variable Sets</a:t>
            </a:r>
          </a:p>
          <a:p>
            <a:endParaRPr lang="en-US" dirty="0"/>
          </a:p>
          <a:p>
            <a:r>
              <a:rPr lang="en-US" b="1" dirty="0"/>
              <a:t>Content:</a:t>
            </a:r>
            <a:endParaRPr lang="en-US" dirty="0"/>
          </a:p>
          <a:p>
            <a:endParaRPr lang="en-US" b="1" dirty="0"/>
          </a:p>
          <a:p>
            <a:r>
              <a:rPr lang="en-US" b="1" dirty="0"/>
              <a:t>Definition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Variable Sets:</a:t>
            </a:r>
            <a:r>
              <a:rPr lang="en-US" dirty="0"/>
              <a:t> Groups of related variables that can be reused across multiple forms or catalog item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Purpose:</a:t>
            </a:r>
            <a:r>
              <a:rPr lang="en-US" dirty="0"/>
              <a:t> To organize variables logically and promote reuse, making form management easier and more consistent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Benefit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Consistency:</a:t>
            </a:r>
            <a:r>
              <a:rPr lang="en-US" dirty="0"/>
              <a:t> Ensure uniformity in the appearance and behavior of variables across different item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Efficiency:</a:t>
            </a:r>
            <a:r>
              <a:rPr lang="en-US" dirty="0"/>
              <a:t> Reduce redundancy by reusing the same set of variables in multiple plac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Ease of Maintenance:</a:t>
            </a:r>
            <a:r>
              <a:rPr lang="en-US" dirty="0"/>
              <a:t> Update variables in one place rather than modifying each individual instance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Notes: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 Using variable sets helps streamline the management of similar or repeated variables, enhancing consistency and reducing effort in form design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DF733A-C155-EDC8-5E98-13C3E7471A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330449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B5F2CA-2A85-7BF1-A620-1BCBD2624F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8065" y="346046"/>
            <a:ext cx="11260279" cy="5700191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0070C0"/>
                </a:solidFill>
              </a:rPr>
              <a:t>Creating and Managing Email Notification Templates</a:t>
            </a:r>
          </a:p>
          <a:p>
            <a:r>
              <a:rPr lang="en-US" b="1" dirty="0"/>
              <a:t>Content:</a:t>
            </a:r>
            <a:endParaRPr lang="en-US" dirty="0"/>
          </a:p>
          <a:p>
            <a:r>
              <a:rPr lang="en-US" b="1" dirty="0"/>
              <a:t>Creating a Template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Navigate to:</a:t>
            </a:r>
            <a:r>
              <a:rPr lang="en-US" dirty="0"/>
              <a:t> Go to </a:t>
            </a:r>
            <a:r>
              <a:rPr lang="en-US" i="1" dirty="0"/>
              <a:t>System Notification &gt; Email &gt; Notifications</a:t>
            </a:r>
            <a:r>
              <a:rPr lang="en-US" dirty="0"/>
              <a:t> and select </a:t>
            </a:r>
            <a:r>
              <a:rPr lang="en-US" i="1" dirty="0"/>
              <a:t>Email Templates</a:t>
            </a:r>
            <a:r>
              <a:rPr lang="en-US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Define Content:</a:t>
            </a:r>
            <a:r>
              <a:rPr lang="en-US" dirty="0"/>
              <a:t> Use HTML and placeholders to design the email content. Include variables to pull data dynamically from ServiceNow record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Save and Test:</a:t>
            </a:r>
            <a:r>
              <a:rPr lang="en-US" dirty="0"/>
              <a:t> Save the template and test it to ensure it displays correctly with actual data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 Managing Template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Editing:</a:t>
            </a:r>
            <a:r>
              <a:rPr lang="en-US" dirty="0"/>
              <a:t> Access and modify existing templates as needed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Version Control:</a:t>
            </a:r>
            <a:r>
              <a:rPr lang="en-US" dirty="0"/>
              <a:t> Track changes and maintain versions to ensure up-to-date conten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Approval Process:</a:t>
            </a:r>
            <a:r>
              <a:rPr lang="en-US" dirty="0"/>
              <a:t> Implement an approval workflow for template changes to maintain quality and consistency.</a:t>
            </a:r>
          </a:p>
          <a:p>
            <a:r>
              <a:rPr lang="en-US" b="1" dirty="0"/>
              <a:t>Notes: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Effective management of templates ensures that they are current and relevant, improving communication accuracy and professionalism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D92CC9-CD5D-E7A4-6226-73C4CC8687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876663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0068639-DAEF-4534-B232-8D158F04ED1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78F59F-7F70-4D93-A9B7-BB930F8F360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88100"/>
            <a:ext cx="369888" cy="263525"/>
          </a:xfrm>
        </p:spPr>
        <p:txBody>
          <a:bodyPr/>
          <a:lstStyle/>
          <a:p>
            <a:fld id="{0879F475-59B1-4993-848A-C2B683DE9AF5}" type="slidenum">
              <a:rPr lang="en-IN" smtClean="0"/>
              <a:pPr/>
              <a:t>2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914089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4AA612D-0F0C-1E75-29ED-A787B2F40C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6186" y="448683"/>
            <a:ext cx="11260279" cy="5681529"/>
          </a:xfrm>
        </p:spPr>
        <p:txBody>
          <a:bodyPr/>
          <a:lstStyle/>
          <a:p>
            <a:endParaRPr lang="en-US" sz="2400" b="1" dirty="0">
              <a:solidFill>
                <a:srgbClr val="0070C0"/>
              </a:solidFill>
            </a:endParaRPr>
          </a:p>
          <a:p>
            <a:r>
              <a:rPr lang="en-US" sz="2400" b="1" dirty="0">
                <a:solidFill>
                  <a:srgbClr val="0070C0"/>
                </a:solidFill>
              </a:rPr>
              <a:t>Key Features of ServiceNow</a:t>
            </a:r>
          </a:p>
          <a:p>
            <a:pPr>
              <a:buFont typeface="Arial" panose="020B0604020202020204" pitchFamily="34" charset="0"/>
              <a:buChar char="•"/>
            </a:pPr>
            <a:endParaRPr lang="en-US" b="1" dirty="0"/>
          </a:p>
          <a:p>
            <a:r>
              <a:rPr lang="en-US" b="1" dirty="0"/>
              <a:t>IT Service Management (ITSM):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cident Manage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roblem Manage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ange Manage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Request Fulfillment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IT Operations Management (ITOM):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vent Manage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erformance Analytic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ervice Mapping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C9B4A6-9994-3747-FDB0-75916A9934D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328304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5E2B14-8532-A3E2-B945-D16767368F7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20894DB4-D393-C66C-18B2-5F83E75174CE}"/>
              </a:ext>
            </a:extLst>
          </p:cNvPr>
          <p:cNvSpPr>
            <a:spLocks noGrp="1" noChangeArrowheads="1"/>
          </p:cNvSpPr>
          <p:nvPr>
            <p:ph type="body" sz="quarter" idx="14"/>
          </p:nvPr>
        </p:nvSpPr>
        <p:spPr bwMode="auto">
          <a:xfrm>
            <a:off x="593725" y="989838"/>
            <a:ext cx="4685898" cy="45243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T Business Management (ITBM)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  Project Portfolio Management (PPM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  Financial Manageme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  Demand Manageme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Human Resources (HR) Service Delivery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 Case Manageme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 Employee Self-Serv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ustomer Service Management (CSM)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 Case Manageme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 Knowledge Manageme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45687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D18B51F-B28D-5DDB-32A5-277B1D1F24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5860" y="217171"/>
            <a:ext cx="11260279" cy="5931702"/>
          </a:xfrm>
        </p:spPr>
        <p:txBody>
          <a:bodyPr/>
          <a:lstStyle/>
          <a:p>
            <a:r>
              <a:rPr lang="en-US" sz="2400" b="1" dirty="0">
                <a:solidFill>
                  <a:srgbClr val="0070C0"/>
                </a:solidFill>
              </a:rPr>
              <a:t>ServiceNow Architecture</a:t>
            </a:r>
          </a:p>
          <a:p>
            <a:endParaRPr lang="en-US" sz="2400" b="1" dirty="0">
              <a:solidFill>
                <a:srgbClr val="0070C0"/>
              </a:solidFill>
            </a:endParaRPr>
          </a:p>
          <a:p>
            <a:r>
              <a:rPr lang="en-US" b="1" dirty="0"/>
              <a:t>Overview of Architectur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loud-based platform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ulti-instance architecture ensures data separation and securit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tegration with other systems through REST and SOAP API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Components: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Database:</a:t>
            </a:r>
            <a:r>
              <a:rPr lang="en-US" dirty="0"/>
              <a:t> Stores all the records and configuration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Application Server:</a:t>
            </a:r>
            <a:r>
              <a:rPr lang="en-US" dirty="0"/>
              <a:t> Processes requests and handles business logic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User Interface (UI):</a:t>
            </a:r>
            <a:r>
              <a:rPr lang="en-US" dirty="0"/>
              <a:t> Web-based interface for user interaction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43D206-76F2-5CCE-D346-2781F965E43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257558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8421C79-718B-ADF4-D977-26414C307F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8065" y="346046"/>
            <a:ext cx="11260279" cy="5914795"/>
          </a:xfrm>
        </p:spPr>
        <p:txBody>
          <a:bodyPr>
            <a:normAutofit lnSpcReduction="10000"/>
          </a:bodyPr>
          <a:lstStyle/>
          <a:p>
            <a:r>
              <a:rPr lang="en-US" sz="2400" b="1" dirty="0">
                <a:solidFill>
                  <a:srgbClr val="0070C0"/>
                </a:solidFill>
              </a:rPr>
              <a:t>Core Modules in ServiceNow</a:t>
            </a:r>
          </a:p>
          <a:p>
            <a:endParaRPr lang="en-US" sz="2400" b="1" dirty="0">
              <a:solidFill>
                <a:srgbClr val="0070C0"/>
              </a:solidFill>
            </a:endParaRPr>
          </a:p>
          <a:p>
            <a:r>
              <a:rPr lang="en-US" b="1" dirty="0"/>
              <a:t>Incident Management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Handles unplanned interruptions or reductions in service qualit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Workflow includes ticket creation, assignment, resolution, and closure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Change Management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anages changes to IT infrastructure with minimal disruptio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volves change requests, assessments, approvals, and implementation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Configuration Management Database (CMDB)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entral repository of information related to all IT assets and configuration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rovides visibility into infrastructure and service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Service Catalog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rovides a user-friendly interface for requesting IT services and item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cludes request fulfillment workflows and approvals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71E499-E4DE-9EF0-7933-7CBFD9EA9C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546264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B6B57AA-42A9-CF93-4A65-E928CBD5A9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420691"/>
            <a:ext cx="11260279" cy="5756174"/>
          </a:xfrm>
        </p:spPr>
        <p:txBody>
          <a:bodyPr/>
          <a:lstStyle/>
          <a:p>
            <a:r>
              <a:rPr lang="en-US" sz="2400" b="1" dirty="0">
                <a:solidFill>
                  <a:srgbClr val="0070C0"/>
                </a:solidFill>
              </a:rPr>
              <a:t>ServiceNow Workflow &amp; Automation</a:t>
            </a:r>
          </a:p>
          <a:p>
            <a:endParaRPr lang="en-US" sz="2400" b="1" dirty="0">
              <a:solidFill>
                <a:srgbClr val="0070C0"/>
              </a:solidFill>
            </a:endParaRPr>
          </a:p>
          <a:p>
            <a:r>
              <a:rPr lang="en-US" b="1" dirty="0"/>
              <a:t>Workflow Designer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rag-and-drop interface for creating workflow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utomates tasks and processes without coding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Business Rule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erver-side scripts that execute when records are created, updated, or deleted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Used to enforce data integrity and automate processe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ServiceNow Orchestration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utomates complex, multi-system task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tegrates with external systems and applications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E9E641-2C20-B3E0-28F8-131BCF7585A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529539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53C759E-2762-92D6-405A-EC068EC570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4177" y="430022"/>
            <a:ext cx="11260279" cy="5597554"/>
          </a:xfrm>
        </p:spPr>
        <p:txBody>
          <a:bodyPr/>
          <a:lstStyle/>
          <a:p>
            <a:r>
              <a:rPr lang="en-US" sz="2400" b="1" dirty="0">
                <a:solidFill>
                  <a:srgbClr val="0070C0"/>
                </a:solidFill>
              </a:rPr>
              <a:t>Customization &amp; Configuration</a:t>
            </a:r>
          </a:p>
          <a:p>
            <a:endParaRPr lang="en-US" sz="2400" b="1" dirty="0">
              <a:solidFill>
                <a:srgbClr val="0070C0"/>
              </a:solidFill>
            </a:endParaRPr>
          </a:p>
          <a:p>
            <a:r>
              <a:rPr lang="en-US" b="1" dirty="0"/>
              <a:t>Custom Application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reate custom applications using ServiceNow Studio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cludes forms, tables, and workflows tailored to business need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UI Customization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odify the user interface with form layouts, views, and dashboard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Utilize Service Portal for a modern, user-friendly interface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Integration Capabilities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tegrate with third-party applications and systems using REST and SOAP API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re-built connectors for popular systems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6DDB56-5257-28BC-62A4-15ADB6A89E9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196708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07BFF22-CF91-32E1-7730-08E255DB55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8065" y="374038"/>
            <a:ext cx="11260279" cy="5588223"/>
          </a:xfrm>
        </p:spPr>
        <p:txBody>
          <a:bodyPr/>
          <a:lstStyle/>
          <a:p>
            <a:endParaRPr lang="en-US" b="1" dirty="0"/>
          </a:p>
          <a:p>
            <a:endParaRPr lang="en-US" b="1" dirty="0"/>
          </a:p>
          <a:p>
            <a:r>
              <a:rPr lang="en-US" sz="2400" b="1" dirty="0">
                <a:solidFill>
                  <a:srgbClr val="0070C0"/>
                </a:solidFill>
              </a:rPr>
              <a:t>Reporting &amp; Analytics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/>
              <a:t>Performance Analytics: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rovides real-time insights and trend analysi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reate custom reports, dashboards, and performance indicator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Reporting Tools: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reate ad-hoc reports using report builder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chedule and automate report generation and distribution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C4BF73-C523-96C3-B588-BAFD29F2751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173453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DD39DAD7772647B41C8FE861EEA391" ma:contentTypeVersion="15" ma:contentTypeDescription="Create a new document." ma:contentTypeScope="" ma:versionID="8360c95a2f62bf75c1caa6825518678e">
  <xsd:schema xmlns:xsd="http://www.w3.org/2001/XMLSchema" xmlns:xs="http://www.w3.org/2001/XMLSchema" xmlns:p="http://schemas.microsoft.com/office/2006/metadata/properties" xmlns:ns3="68319706-930a-435e-b76e-f1bb4b3746a4" xmlns:ns4="98c4397e-77a1-4be1-bada-f3fa4bdd655c" targetNamespace="http://schemas.microsoft.com/office/2006/metadata/properties" ma:root="true" ma:fieldsID="84775e9745987ca7bb9d40a825b219ad" ns3:_="" ns4:_="">
    <xsd:import namespace="68319706-930a-435e-b76e-f1bb4b3746a4"/>
    <xsd:import namespace="98c4397e-77a1-4be1-bada-f3fa4bdd655c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LengthInSeconds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319706-930a-435e-b76e-f1bb4b3746a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c4397e-77a1-4be1-bada-f3fa4bdd655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1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8c4397e-77a1-4be1-bada-f3fa4bdd655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21205A4-BB8A-4316-BDD9-077E49E564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319706-930a-435e-b76e-f1bb4b3746a4"/>
    <ds:schemaRef ds:uri="98c4397e-77a1-4be1-bada-f3fa4bdd655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8CC0D78-2BF2-438E-9FC7-FFC8AB5E6204}">
  <ds:schemaRefs>
    <ds:schemaRef ds:uri="http://purl.org/dc/elements/1.1/"/>
    <ds:schemaRef ds:uri="68319706-930a-435e-b76e-f1bb4b3746a4"/>
    <ds:schemaRef ds:uri="98c4397e-77a1-4be1-bada-f3fa4bdd655c"/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7500125-760C-4DA8-83C8-ACF4A641C9D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84</TotalTime>
  <Words>2087</Words>
  <Application>Microsoft Office PowerPoint</Application>
  <PresentationFormat>Widescreen</PresentationFormat>
  <Paragraphs>345</Paragraphs>
  <Slides>2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8" baseType="lpstr">
      <vt:lpstr>Arial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ornima Sivakumar [UNext]</dc:creator>
  <cp:lastModifiedBy>Yamarapu David Prabhakar</cp:lastModifiedBy>
  <cp:revision>31</cp:revision>
  <dcterms:created xsi:type="dcterms:W3CDTF">2023-04-07T11:31:48Z</dcterms:created>
  <dcterms:modified xsi:type="dcterms:W3CDTF">2024-07-30T10:3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DD39DAD7772647B41C8FE861EEA391</vt:lpwstr>
  </property>
</Properties>
</file>